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04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9" d="100"/>
          <a:sy n="79" d="100"/>
        </p:scale>
        <p:origin x="96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13866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3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469414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02348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96749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6339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5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3076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990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197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65BD84F-73B7-49F7-9CD7-E6504AACE96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cuperação até 60% do ar de sopr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32834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ARK: Kit de recuperação de ar para process resistente ao calor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lvl="0"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Otimização de custos</a:t>
            </a:r>
            <a:r>
              <a:rPr lang="fr-FR" dirty="0">
                <a:solidFill>
                  <a:srgbClr val="000000"/>
                </a:solidFill>
              </a:rPr>
              <a:t>, </a:t>
            </a:r>
            <a:r>
              <a:rPr lang="fr-FR">
                <a:solidFill>
                  <a:srgbClr val="000000"/>
                </a:solidFill>
              </a:rPr>
              <a:t>Sustentabilidade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Séries 2 com process HR</a:t>
            </a:r>
            <a:endParaRPr kumimoji="0" lang="pt-BR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576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Com a opção de recuperação de ar, 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 coleta mais de metade do ar usado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que será convertido em ar de pré-sopro e ar de serviço, usado para produzir ar para a fábrica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utro critério a considerar é a integração Excelente na máquina: Os ajustes associados à opção de recuperação são registrados nas receitas do proces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dução dos investimentos,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graças a compressores de ar de menor dimensã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cuperação de até 60% do ar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consumido para produzir garrafas de secagem a quente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 volume de ar recuperado depende do tipo de sopradoras e também das condições de produção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adência da máquina, número de estações de sopro, pressão de pré-sopro e sopro, capacidade da garrafa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 ar recuperado pode ser reutilizado para produzir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r de pré-sopro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r de estiramento e de acionamento dos cilindros dos injetores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r a baixa pressão para fora da máquina </a:t>
                      </a:r>
                      <a:br>
                        <a:rPr dirty="0"/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(a sopradora atua como um compressor de BP)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versão PCC mínima requerida para instalar este O&amp;U é a V2.02, nas versões anteriores é necessário uma atualização do PCC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3531" y="4636633"/>
            <a:ext cx="1164569" cy="1032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C544F321-39E5-49C0-A639-8F2E9AFB66DB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57080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94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Recuperação até 60% do ar de sopr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4</cp:revision>
  <dcterms:created xsi:type="dcterms:W3CDTF">2014-05-22T13:23:46Z</dcterms:created>
  <dcterms:modified xsi:type="dcterms:W3CDTF">2019-10-10T13:0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02:00.2583499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